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6" r:id="rId4"/>
    <p:sldMasterId id="2147483820" r:id="rId5"/>
  </p:sldMasterIdLst>
  <p:notesMasterIdLst>
    <p:notesMasterId r:id="rId8"/>
  </p:notesMasterIdLst>
  <p:sldIdLst>
    <p:sldId id="2147473557" r:id="rId6"/>
    <p:sldId id="2147473558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3155B8A-76B3-431C-9290-7A0F8D00F284}">
          <p14:sldIdLst>
            <p14:sldId id="2147473557"/>
            <p14:sldId id="2147473558"/>
          </p14:sldIdLst>
        </p14:section>
        <p14:section name="Backup" id="{51559BC6-E7B5-4BD6-8271-7BD48CD7821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rnovsky, Joao" initials="TJ" lastIdx="10" clrIdx="0">
    <p:extLst>
      <p:ext uri="{19B8F6BF-5375-455C-9EA6-DF929625EA0E}">
        <p15:presenceInfo xmlns:p15="http://schemas.microsoft.com/office/powerpoint/2012/main" userId="S::Joao.Tornovsky@ab-inbev.com::d438aa60-136c-49df-ab36-d4637fe1a6d0" providerId="AD"/>
      </p:ext>
    </p:extLst>
  </p:cmAuthor>
  <p:cmAuthor id="2" name="Agarwal Ankit" initials="AA" lastIdx="5" clrIdx="1">
    <p:extLst>
      <p:ext uri="{19B8F6BF-5375-455C-9EA6-DF929625EA0E}">
        <p15:presenceInfo xmlns:p15="http://schemas.microsoft.com/office/powerpoint/2012/main" userId="S::ankit.agarwal@ab-inbev.com::2d399d0f-fe35-48d9-9258-ef8bbaa1aac7" providerId="AD"/>
      </p:ext>
    </p:extLst>
  </p:cmAuthor>
  <p:cmAuthor id="3" name="ANINDO CHAKRABORTY" initials="AC" lastIdx="15" clrIdx="2">
    <p:extLst>
      <p:ext uri="{19B8F6BF-5375-455C-9EA6-DF929625EA0E}">
        <p15:presenceInfo xmlns:p15="http://schemas.microsoft.com/office/powerpoint/2012/main" userId="S::anindo.chakraborty@ab-inbev.com::c5872f0f-bfa5-4137-88be-037f0017d397" providerId="AD"/>
      </p:ext>
    </p:extLst>
  </p:cmAuthor>
  <p:cmAuthor id="4" name="Carvalho, Leandro" initials="CL" lastIdx="1" clrIdx="3">
    <p:extLst>
      <p:ext uri="{19B8F6BF-5375-455C-9EA6-DF929625EA0E}">
        <p15:presenceInfo xmlns:p15="http://schemas.microsoft.com/office/powerpoint/2012/main" userId="S::leandro.carvalho@ab-inbev.com::050fe8ac-0aed-4323-8c7d-068cf9469b98" providerId="AD"/>
      </p:ext>
    </p:extLst>
  </p:cmAuthor>
  <p:cmAuthor id="5" name="H A Raghavendra" initials="HR" lastIdx="3" clrIdx="4">
    <p:extLst>
      <p:ext uri="{19B8F6BF-5375-455C-9EA6-DF929625EA0E}">
        <p15:presenceInfo xmlns:p15="http://schemas.microsoft.com/office/powerpoint/2012/main" userId="S::raghavendra.ha@ab-inbev.com::c10be9da-0128-494b-8ddb-2b3b1a67a12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BC23"/>
    <a:srgbClr val="3ECA61"/>
    <a:srgbClr val="009BB0"/>
    <a:srgbClr val="D1A33C"/>
    <a:srgbClr val="F3D713"/>
    <a:srgbClr val="F2F2F2"/>
    <a:srgbClr val="010101"/>
    <a:srgbClr val="F7C400"/>
    <a:srgbClr val="1516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BE5FA5-48FD-0F42-955A-FE7376EA5C25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98975A-C83C-4B4B-A264-2AFD70F782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696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emf"/><Relationship Id="rId4" Type="http://schemas.openxmlformats.org/officeDocument/2006/relationships/image" Target="../media/image20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.xml"/><Relationship Id="rId7" Type="http://schemas.openxmlformats.org/officeDocument/2006/relationships/image" Target="../media/image2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668367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080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7614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98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1642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81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49B4583D-B3EC-8C4C-9B3D-CA33ECEF66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D959B9-D94D-D641-869A-CD9AB500A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0104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22C10736-D225-C144-9D8C-9424F00440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A88693-BA34-9A4E-B42F-9DC9CE246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6424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3652644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0BB0316-62F7-3B4A-90B4-E54F04F104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5487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EDFA1-3C62-3D4C-89E4-E9C2092DC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8174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480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AE15018D-48CF-EB4D-A787-FEA6777645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2439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5E9574-847B-FF48-BC9B-6DD3FD412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5126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904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71595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125BBE7-1674-254E-B338-E9118BC21C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89937" y="603317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FBA8-34B8-FD48-A372-418DE16FF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8210" y="6060044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1501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593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4876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AE213-8149-EC4A-951B-354462712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9484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8751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90EE8-8A7F-6F43-B319-5EA099409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6786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1637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4101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6902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83581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606" y="612725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46153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70643D-68A1-2F48-A825-DFBBEC374F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892AD-76BF-E34A-A559-F6F4638EB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6424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249016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08248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22352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391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3175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061C517-9ED7-094C-9E3E-A458C55C1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04C01B-D40E-3445-B9BD-D89E1FB97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9002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32BCE49-8F17-8F45-B154-FC8E13D239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8826FD-B052-4A47-A0F5-AF954BD86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3287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8571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9D56F586-BFC4-F04C-8C0B-90036396FF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466" t="-98" r="25742" b="40207"/>
          <a:stretch/>
        </p:blipFill>
        <p:spPr>
          <a:xfrm>
            <a:off x="-1" y="-11289"/>
            <a:ext cx="12192001" cy="686928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1713" y="2210415"/>
            <a:ext cx="7454900" cy="1814512"/>
          </a:xfrm>
        </p:spPr>
        <p:txBody>
          <a:bodyPr anchor="b"/>
          <a:lstStyle>
            <a:lvl1pPr>
              <a:lnSpc>
                <a:spcPct val="80000"/>
              </a:lnSpc>
              <a:defRPr lang="en-US" sz="60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Title of presentation goes right here</a:t>
            </a:r>
          </a:p>
        </p:txBody>
      </p:sp>
      <p:pic>
        <p:nvPicPr>
          <p:cNvPr id="33" name="Picture 3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5726B47-B9C7-5644-97C0-1420E37395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1713" y="490895"/>
            <a:ext cx="1802307" cy="327971"/>
          </a:xfrm>
          <a:prstGeom prst="rect">
            <a:avLst/>
          </a:prstGeom>
        </p:spPr>
      </p:pic>
      <p:sp>
        <p:nvSpPr>
          <p:cNvPr id="35" name="Subtitle 2">
            <a:extLst>
              <a:ext uri="{FF2B5EF4-FFF2-40B4-BE49-F238E27FC236}">
                <a16:creationId xmlns:a16="http://schemas.microsoft.com/office/drawing/2014/main" id="{5B9FC3DF-4F8B-7541-9479-87EEE04BF8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1712" y="4294425"/>
            <a:ext cx="5704288" cy="9228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br>
              <a:rPr lang="en-US"/>
            </a:br>
            <a:r>
              <a:rPr lang="en-US" sz="1400"/>
              <a:t>November 2021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3FA98C41-FFC5-D341-B5CA-A1A33588A66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91713" y="6230492"/>
            <a:ext cx="2427689" cy="13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4100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7EB9A95D-7FE0-4745-ADC6-BFEA67B6F7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3559" y="1876303"/>
            <a:ext cx="3108380" cy="56986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1E4C537-EAF6-2A43-A52A-6C721CBDE1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D2879A-E2AE-A04C-B040-B767A7635E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1713" y="2210415"/>
            <a:ext cx="7454900" cy="1814512"/>
          </a:xfrm>
        </p:spPr>
        <p:txBody>
          <a:bodyPr anchor="b"/>
          <a:lstStyle>
            <a:lvl1pPr>
              <a:lnSpc>
                <a:spcPct val="80000"/>
              </a:lnSpc>
              <a:defRPr lang="en-US" sz="60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Title of presentation goes right her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0FC50D9-F9E5-FF49-A43E-4E3E675C74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1712" y="4294425"/>
            <a:ext cx="5704288" cy="9228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br>
              <a:rPr lang="en-US"/>
            </a:br>
            <a:r>
              <a:rPr lang="en-US" sz="1400"/>
              <a:t>November 2021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94E04CC-32B1-F745-9F2F-5D91301FA08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391713" y="490896"/>
            <a:ext cx="1802307" cy="327971"/>
          </a:xfrm>
          <a:prstGeom prst="rect">
            <a:avLst/>
          </a:prstGeom>
          <a:noFill/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0CDFF66-65E1-4D4C-A47F-5ED4E7B9E6F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91713" y="6230492"/>
            <a:ext cx="2427689" cy="13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3188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4CC41F9-3804-2148-9E58-77489B6D7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D1A33C"/>
              </a:gs>
              <a:gs pos="0">
                <a:srgbClr val="F3D713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630961F-C319-5846-94D7-208EDFD0F0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1713" y="2210415"/>
            <a:ext cx="7454900" cy="1814512"/>
          </a:xfrm>
        </p:spPr>
        <p:txBody>
          <a:bodyPr anchor="b"/>
          <a:lstStyle>
            <a:lvl1pPr>
              <a:lnSpc>
                <a:spcPct val="80000"/>
              </a:lnSpc>
              <a:defRPr lang="en-US" sz="60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Title of presentation goes right here</a:t>
            </a:r>
          </a:p>
        </p:txBody>
      </p:sp>
      <p:pic>
        <p:nvPicPr>
          <p:cNvPr id="31" name="Picture 3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34E671B-8557-8B47-A3E2-6B5DFD2D40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1713" y="490895"/>
            <a:ext cx="1802307" cy="327971"/>
          </a:xfrm>
          <a:prstGeom prst="rect">
            <a:avLst/>
          </a:prstGeom>
        </p:spPr>
      </p:pic>
      <p:sp>
        <p:nvSpPr>
          <p:cNvPr id="32" name="Subtitle 2">
            <a:extLst>
              <a:ext uri="{FF2B5EF4-FFF2-40B4-BE49-F238E27FC236}">
                <a16:creationId xmlns:a16="http://schemas.microsoft.com/office/drawing/2014/main" id="{25989B81-6196-114B-B305-C0A8FE17B4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1712" y="4294425"/>
            <a:ext cx="5704288" cy="9228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br>
              <a:rPr lang="en-US"/>
            </a:br>
            <a:r>
              <a:rPr lang="en-US" sz="1400"/>
              <a:t>November 2021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5CF850B-B002-094E-A87C-B70C760B90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1713" y="6230492"/>
            <a:ext cx="2427689" cy="13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685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9D56F586-BFC4-F04C-8C0B-90036396FF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466" t="-98" r="25742" b="40207"/>
          <a:stretch/>
        </p:blipFill>
        <p:spPr>
          <a:xfrm>
            <a:off x="-1" y="-11289"/>
            <a:ext cx="12192001" cy="686928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1713" y="2210415"/>
            <a:ext cx="7454900" cy="1814512"/>
          </a:xfrm>
        </p:spPr>
        <p:txBody>
          <a:bodyPr anchor="b"/>
          <a:lstStyle>
            <a:lvl1pPr>
              <a:lnSpc>
                <a:spcPct val="80000"/>
              </a:lnSpc>
              <a:defRPr lang="en-US" sz="60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Title of presentation goes right here</a:t>
            </a:r>
          </a:p>
        </p:txBody>
      </p:sp>
      <p:pic>
        <p:nvPicPr>
          <p:cNvPr id="33" name="Picture 3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5726B47-B9C7-5644-97C0-1420E37395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1713" y="490895"/>
            <a:ext cx="1802307" cy="327971"/>
          </a:xfrm>
          <a:prstGeom prst="rect">
            <a:avLst/>
          </a:prstGeom>
        </p:spPr>
      </p:pic>
      <p:sp>
        <p:nvSpPr>
          <p:cNvPr id="35" name="Subtitle 2">
            <a:extLst>
              <a:ext uri="{FF2B5EF4-FFF2-40B4-BE49-F238E27FC236}">
                <a16:creationId xmlns:a16="http://schemas.microsoft.com/office/drawing/2014/main" id="{5B9FC3DF-4F8B-7541-9479-87EEE04BF8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1712" y="4294425"/>
            <a:ext cx="5704288" cy="9228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br>
              <a:rPr lang="en-US"/>
            </a:br>
            <a:r>
              <a:rPr lang="en-US" sz="1400"/>
              <a:t>November 2021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3FA98C41-FFC5-D341-B5CA-A1A33588A66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91713" y="6230492"/>
            <a:ext cx="2427689" cy="13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691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1330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677926-83DE-B34D-B93A-40904DE9A4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9838" y="1866383"/>
            <a:ext cx="444623" cy="367235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800" b="1"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  <a:p>
            <a:pPr lvl="0"/>
            <a:r>
              <a:rPr lang="en-US"/>
              <a:t>2</a:t>
            </a:r>
          </a:p>
          <a:p>
            <a:pPr lvl="0"/>
            <a:r>
              <a:rPr lang="en-US"/>
              <a:t>3</a:t>
            </a:r>
          </a:p>
          <a:p>
            <a:pPr lvl="0"/>
            <a:r>
              <a:rPr lang="en-US"/>
              <a:t>4</a:t>
            </a:r>
          </a:p>
          <a:p>
            <a:pPr lvl="0"/>
            <a:r>
              <a:rPr lang="en-US"/>
              <a:t>5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3177E2-0170-C341-899B-B402B9A823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42861" y="1866383"/>
            <a:ext cx="10359331" cy="367235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One Title Here</a:t>
            </a:r>
          </a:p>
          <a:p>
            <a:pPr lvl="0"/>
            <a:r>
              <a:rPr lang="en-US"/>
              <a:t>Section Two Title Here</a:t>
            </a:r>
          </a:p>
          <a:p>
            <a:pPr lvl="0"/>
            <a:r>
              <a:rPr lang="en-US"/>
              <a:t>Section Three Title Here</a:t>
            </a:r>
          </a:p>
          <a:p>
            <a:pPr lvl="0"/>
            <a:r>
              <a:rPr lang="en-US"/>
              <a:t>Section Four Title Here</a:t>
            </a:r>
          </a:p>
          <a:p>
            <a:pPr lvl="0"/>
            <a:r>
              <a:rPr lang="en-US"/>
              <a:t>Section Five Title Here</a:t>
            </a:r>
          </a:p>
        </p:txBody>
      </p:sp>
    </p:spTree>
    <p:extLst>
      <p:ext uri="{BB962C8B-B14F-4D97-AF65-F5344CB8AC3E}">
        <p14:creationId xmlns:p14="http://schemas.microsoft.com/office/powerpoint/2010/main" val="31558188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7D8E21D-5E23-6A47-8323-53278D1E0D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9677926-83DE-B34D-B93A-40904DE9A4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9838" y="1866383"/>
            <a:ext cx="444623" cy="367235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  <a:p>
            <a:pPr lvl="0"/>
            <a:r>
              <a:rPr lang="en-US"/>
              <a:t>2</a:t>
            </a:r>
          </a:p>
          <a:p>
            <a:pPr lvl="0"/>
            <a:r>
              <a:rPr lang="en-US"/>
              <a:t>3</a:t>
            </a:r>
          </a:p>
          <a:p>
            <a:pPr lvl="0"/>
            <a:r>
              <a:rPr lang="en-US"/>
              <a:t>4</a:t>
            </a:r>
          </a:p>
          <a:p>
            <a:pPr lvl="0"/>
            <a:r>
              <a:rPr lang="en-US"/>
              <a:t>5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3177E2-0170-C341-899B-B402B9A823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42861" y="1866383"/>
            <a:ext cx="10359331" cy="367235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One Title Here</a:t>
            </a:r>
          </a:p>
          <a:p>
            <a:pPr lvl="0"/>
            <a:r>
              <a:rPr lang="en-US"/>
              <a:t>Section Two Title Here</a:t>
            </a:r>
          </a:p>
          <a:p>
            <a:pPr lvl="0"/>
            <a:r>
              <a:rPr lang="en-US"/>
              <a:t>Section Three Title Here</a:t>
            </a:r>
          </a:p>
          <a:p>
            <a:pPr lvl="0"/>
            <a:r>
              <a:rPr lang="en-US"/>
              <a:t>Section Four Title Here</a:t>
            </a:r>
          </a:p>
          <a:p>
            <a:pPr lvl="0"/>
            <a:r>
              <a:rPr lang="en-US"/>
              <a:t>Section Five Titl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A0A327-2D44-B24C-8DD8-AAD8BF7B18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95433" y="6347527"/>
            <a:ext cx="974691" cy="1773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179048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7D8E21D-5E23-6A47-8323-53278D1E0D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7" y="757536"/>
            <a:ext cx="5001632" cy="801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section title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2A0A327-2D44-B24C-8DD8-AAD8BF7B18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95433" y="6347527"/>
            <a:ext cx="974691" cy="177367"/>
          </a:xfrm>
          <a:prstGeom prst="rect">
            <a:avLst/>
          </a:prstGeom>
          <a:noFill/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B0F723C-8613-894B-8A83-B5E78FE7E1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2315" y="3022844"/>
            <a:ext cx="7814872" cy="3835157"/>
          </a:xfrm>
        </p:spPr>
        <p:txBody>
          <a:bodyPr/>
          <a:lstStyle>
            <a:lvl1pPr algn="r">
              <a:defRPr sz="29999" b="1">
                <a:gradFill>
                  <a:gsLst>
                    <a:gs pos="83000">
                      <a:srgbClr val="D1A33C"/>
                    </a:gs>
                    <a:gs pos="40000">
                      <a:srgbClr val="F3D713"/>
                    </a:gs>
                  </a:gsLst>
                  <a:lin ang="10800000" scaled="0"/>
                </a:gradFill>
              </a:defRPr>
            </a:lvl1pPr>
          </a:lstStyle>
          <a:p>
            <a:pPr lvl="0"/>
            <a:r>
              <a:rPr lang="en-US"/>
              <a:t>0#</a:t>
            </a:r>
          </a:p>
        </p:txBody>
      </p:sp>
    </p:spTree>
    <p:extLst>
      <p:ext uri="{BB962C8B-B14F-4D97-AF65-F5344CB8AC3E}">
        <p14:creationId xmlns:p14="http://schemas.microsoft.com/office/powerpoint/2010/main" val="26513526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5702872-BFF7-0A4F-B7B1-B3677506825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D1A33C"/>
              </a:gs>
              <a:gs pos="0">
                <a:srgbClr val="F3D713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46ED8D5-49E6-C44A-A66E-C11C34DF2F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" y="6348205"/>
            <a:ext cx="974691" cy="177367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B0F723C-8613-894B-8A83-B5E78FE7E1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2315" y="3022844"/>
            <a:ext cx="7814872" cy="3835157"/>
          </a:xfrm>
        </p:spPr>
        <p:txBody>
          <a:bodyPr/>
          <a:lstStyle>
            <a:lvl1pPr algn="r">
              <a:defRPr sz="299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#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97089E9-863F-B54F-882E-AD0981D4DDC7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CBE06387-7479-DB42-9CE2-ED6C0E0445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7" y="757536"/>
            <a:ext cx="5001632" cy="801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3262146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5702872-BFF7-0A4F-B7B1-B3677506825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D1A33C"/>
              </a:gs>
              <a:gs pos="0">
                <a:srgbClr val="F3D713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7" name="Picture 6" descr="A group of people raising their hands&#10;&#10;Description automatically generated">
            <a:extLst>
              <a:ext uri="{FF2B5EF4-FFF2-40B4-BE49-F238E27FC236}">
                <a16:creationId xmlns:a16="http://schemas.microsoft.com/office/drawing/2014/main" id="{3EC256B8-26C7-684B-9B49-D48C01E134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9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46ED8D5-49E6-C44A-A66E-C11C34DF2F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4828" y="6348205"/>
            <a:ext cx="974691" cy="177367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B0F723C-8613-894B-8A83-B5E78FE7E1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2315" y="3022844"/>
            <a:ext cx="7814872" cy="3835157"/>
          </a:xfrm>
        </p:spPr>
        <p:txBody>
          <a:bodyPr/>
          <a:lstStyle>
            <a:lvl1pPr algn="r">
              <a:defRPr sz="299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#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97089E9-863F-B54F-882E-AD0981D4DDC7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865B193D-9A06-694E-A3A5-741F9C08EC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7" y="757536"/>
            <a:ext cx="5001632" cy="801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3535752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B0F723C-8613-894B-8A83-B5E78FE7E1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2315" y="3022844"/>
            <a:ext cx="7814872" cy="3835157"/>
          </a:xfrm>
        </p:spPr>
        <p:txBody>
          <a:bodyPr/>
          <a:lstStyle>
            <a:lvl1pPr algn="r">
              <a:defRPr sz="29999" b="1">
                <a:gradFill>
                  <a:gsLst>
                    <a:gs pos="83000">
                      <a:srgbClr val="D1A33C"/>
                    </a:gs>
                    <a:gs pos="40000">
                      <a:srgbClr val="F3D713"/>
                    </a:gs>
                  </a:gsLst>
                  <a:lin ang="10800000" scaled="0"/>
                </a:gradFill>
              </a:defRPr>
            </a:lvl1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D5C3961-87B6-B845-880F-D55169267D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7" y="757536"/>
            <a:ext cx="5001632" cy="80144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15063124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7596513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D948BA-A459-6047-80E9-06EA96CF5D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837" y="2555824"/>
            <a:ext cx="11222355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22793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C4406E7-3281-8E4A-A136-E9D8990AC07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D948BA-A459-6047-80E9-06EA96CF5D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837" y="2555824"/>
            <a:ext cx="11222355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534DCE-7A3B-9E41-8C71-11252FA31CB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95433" y="6347527"/>
            <a:ext cx="974691" cy="177367"/>
          </a:xfrm>
          <a:prstGeom prst="rect">
            <a:avLst/>
          </a:prstGeom>
          <a:noFill/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603E643-1B82-4947-89AC-BB65BAB86594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6627725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rgbClr val="E3BC23"/>
            </a:solidFill>
            <a:prstDash val="solid"/>
            <a:miter lim="800000"/>
          </a:ln>
          <a:effectLst/>
        </p:spPr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D948BA-A459-6047-80E9-06EA96CF5D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838" y="2555824"/>
            <a:ext cx="5533783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32662A7-8CCB-214D-979B-DB548164CE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68411" y="2555824"/>
            <a:ext cx="5533783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443251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0745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1E8AE08-E9A8-6549-9D01-6A99A4425537}"/>
              </a:ext>
            </a:extLst>
          </p:cNvPr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D948BA-A459-6047-80E9-06EA96CF5D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838" y="2555824"/>
            <a:ext cx="5533783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32662A7-8CCB-214D-979B-DB548164CE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68411" y="2555824"/>
            <a:ext cx="5533783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EB549F-CBC6-EB44-89FF-A98CB2B526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7527"/>
            <a:ext cx="974691" cy="177367"/>
          </a:xfrm>
          <a:prstGeom prst="rect">
            <a:avLst/>
          </a:prstGeom>
          <a:noFill/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E677C0A-8A71-414E-B191-B905EF8F914D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0610466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FF585C1-6318-7B40-9BF6-B5EAC9D25435}"/>
              </a:ext>
            </a:extLst>
          </p:cNvPr>
          <p:cNvSpPr/>
          <p:nvPr userDrawn="1"/>
        </p:nvSpPr>
        <p:spPr>
          <a:xfrm>
            <a:off x="6107538" y="0"/>
            <a:ext cx="608446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8" y="757536"/>
            <a:ext cx="5533783" cy="801443"/>
          </a:xfrm>
        </p:spPr>
        <p:txBody>
          <a:bodyPr/>
          <a:lstStyle/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rgbClr val="E3BC23"/>
            </a:solidFill>
            <a:prstDash val="solid"/>
            <a:miter lim="800000"/>
          </a:ln>
          <a:effectLst/>
        </p:spPr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D948BA-A459-6047-80E9-06EA96CF5D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838" y="2555824"/>
            <a:ext cx="5533783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32662A7-8CCB-214D-979B-DB548164CE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4338" y="2555824"/>
            <a:ext cx="5287855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540372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8B9B21-7541-894F-BF8B-7B294CAD50C4}"/>
              </a:ext>
            </a:extLst>
          </p:cNvPr>
          <p:cNvSpPr/>
          <p:nvPr userDrawn="1"/>
        </p:nvSpPr>
        <p:spPr>
          <a:xfrm>
            <a:off x="1" y="0"/>
            <a:ext cx="61071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881041-8E76-AB4C-9122-53A39E53C4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07114" y="0"/>
            <a:ext cx="6084887" cy="685800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8" y="757536"/>
            <a:ext cx="5533783" cy="801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rgbClr val="E3BC23"/>
            </a:solidFill>
            <a:prstDash val="solid"/>
            <a:miter lim="800000"/>
          </a:ln>
          <a:effectLst/>
        </p:spPr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D948BA-A459-6047-80E9-06EA96CF5D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838" y="2555824"/>
            <a:ext cx="5533783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080F97F-38EA-1141-B83D-7C1CADDA7D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7527"/>
            <a:ext cx="974691" cy="1773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733572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881041-8E76-AB4C-9122-53A39E53C4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07114" y="0"/>
            <a:ext cx="6084887" cy="685800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8" y="757536"/>
            <a:ext cx="5533783" cy="801443"/>
          </a:xfrm>
        </p:spPr>
        <p:txBody>
          <a:bodyPr/>
          <a:lstStyle/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rgbClr val="E3BC23"/>
            </a:solidFill>
            <a:prstDash val="solid"/>
            <a:miter lim="800000"/>
          </a:ln>
          <a:effectLst/>
        </p:spPr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DD948BA-A459-6047-80E9-06EA96CF5D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838" y="2555824"/>
            <a:ext cx="5533783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759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Half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99961B-BDB3-E246-9326-E679B3189E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9415" y="2548409"/>
            <a:ext cx="5009552" cy="33719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concept title he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881041-8E76-AB4C-9122-53A39E53C4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07114" y="0"/>
            <a:ext cx="6084887" cy="685800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8" y="757536"/>
            <a:ext cx="5533783" cy="801443"/>
          </a:xfrm>
        </p:spPr>
        <p:txBody>
          <a:bodyPr/>
          <a:lstStyle/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6850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rgbClr val="E3BC23"/>
            </a:solidFill>
            <a:prstDash val="solid"/>
            <a:miter lim="800000"/>
          </a:ln>
          <a:effectLst/>
        </p:spPr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093BC79-C954-DF4D-96B6-36D01DDA9F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13" y="3131074"/>
            <a:ext cx="5009552" cy="2647629"/>
          </a:xfrm>
        </p:spPr>
        <p:txBody>
          <a:bodyPr/>
          <a:lstStyle>
            <a:lvl1pPr>
              <a:defRPr sz="2100"/>
            </a:lvl1pPr>
          </a:lstStyle>
          <a:p>
            <a:pPr lvl="0"/>
            <a:r>
              <a:rPr lang="en-US"/>
              <a:t>Insert concept description here.</a:t>
            </a:r>
          </a:p>
        </p:txBody>
      </p:sp>
    </p:spTree>
    <p:extLst>
      <p:ext uri="{BB962C8B-B14F-4D97-AF65-F5344CB8AC3E}">
        <p14:creationId xmlns:p14="http://schemas.microsoft.com/office/powerpoint/2010/main" val="12591522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Half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8B9B21-7541-894F-BF8B-7B294CAD50C4}"/>
              </a:ext>
            </a:extLst>
          </p:cNvPr>
          <p:cNvSpPr/>
          <p:nvPr userDrawn="1"/>
        </p:nvSpPr>
        <p:spPr>
          <a:xfrm>
            <a:off x="1" y="0"/>
            <a:ext cx="61071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881041-8E76-AB4C-9122-53A39E53C4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07114" y="0"/>
            <a:ext cx="6084887" cy="685800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8" y="757536"/>
            <a:ext cx="5533783" cy="801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rgbClr val="E3BC23"/>
            </a:solidFill>
            <a:prstDash val="solid"/>
            <a:miter lim="800000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080F97F-38EA-1141-B83D-7C1CADDA7D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7527"/>
            <a:ext cx="974691" cy="177367"/>
          </a:xfrm>
          <a:prstGeom prst="rect">
            <a:avLst/>
          </a:prstGeom>
          <a:noFill/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715CF26-883C-ED43-8665-319A987E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9415" y="2548409"/>
            <a:ext cx="5009552" cy="337199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nsert concept title he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EAD2144-BBCB-0A42-B286-DB23B07AE1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13" y="3131074"/>
            <a:ext cx="5009552" cy="2647629"/>
          </a:xfrm>
        </p:spPr>
        <p:txBody>
          <a:bodyPr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concept description here.</a:t>
            </a:r>
          </a:p>
        </p:txBody>
      </p:sp>
    </p:spTree>
    <p:extLst>
      <p:ext uri="{BB962C8B-B14F-4D97-AF65-F5344CB8AC3E}">
        <p14:creationId xmlns:p14="http://schemas.microsoft.com/office/powerpoint/2010/main" val="13189149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8B9B21-7541-894F-BF8B-7B294CAD50C4}"/>
              </a:ext>
            </a:extLst>
          </p:cNvPr>
          <p:cNvSpPr/>
          <p:nvPr userDrawn="1"/>
        </p:nvSpPr>
        <p:spPr>
          <a:xfrm>
            <a:off x="1" y="0"/>
            <a:ext cx="61071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838" y="757536"/>
            <a:ext cx="5533783" cy="801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8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rgbClr val="E3BC23"/>
            </a:solidFill>
            <a:prstDash val="solid"/>
            <a:miter lim="800000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080F97F-38EA-1141-B83D-7C1CADDA7D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7527"/>
            <a:ext cx="974691" cy="177367"/>
          </a:xfrm>
          <a:prstGeom prst="rect">
            <a:avLst/>
          </a:prstGeom>
          <a:noFill/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715CF26-883C-ED43-8665-319A987E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9415" y="2548409"/>
            <a:ext cx="5009552" cy="337199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nsert concept title he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EAD2144-BBCB-0A42-B286-DB23B07AE1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13" y="3131074"/>
            <a:ext cx="5009552" cy="2647629"/>
          </a:xfrm>
        </p:spPr>
        <p:txBody>
          <a:bodyPr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concept description here.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690E5ED-85F2-724A-B4C9-428F46B4EB0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558197" y="1798639"/>
            <a:ext cx="5043995" cy="34321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950943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4CC41F9-3804-2148-9E58-77489B6D7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D1A33C"/>
              </a:gs>
              <a:gs pos="0">
                <a:srgbClr val="F3D713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9" name="Picture 8" descr="A group of people raising their hands&#10;&#10;Description automatically generated">
            <a:extLst>
              <a:ext uri="{FF2B5EF4-FFF2-40B4-BE49-F238E27FC236}">
                <a16:creationId xmlns:a16="http://schemas.microsoft.com/office/drawing/2014/main" id="{CCC4461F-EA40-5246-94AB-17ED2E9A9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3000"/>
          </a:blip>
          <a:srcRect r="16667" b="16667"/>
          <a:stretch/>
        </p:blipFill>
        <p:spPr>
          <a:xfrm>
            <a:off x="0" y="2292"/>
            <a:ext cx="12192000" cy="6858000"/>
          </a:xfrm>
          <a:prstGeom prst="rect">
            <a:avLst/>
          </a:prstGeom>
        </p:spPr>
      </p:pic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630961F-C319-5846-94D7-208EDFD0F0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1713" y="1660196"/>
            <a:ext cx="8549921" cy="357886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lang="en-US" sz="88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Hero call-put for important highlight tex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04D589B-07A4-164B-84EA-84CA7B25C685}"/>
              </a:ext>
            </a:extLst>
          </p:cNvPr>
          <p:cNvCxnSpPr>
            <a:cxnSpLocks/>
          </p:cNvCxnSpPr>
          <p:nvPr userDrawn="1"/>
        </p:nvCxnSpPr>
        <p:spPr>
          <a:xfrm>
            <a:off x="399207" y="1167308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1E98F5F8-BA5A-484C-9F03-B4194FD12B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95433" y="6347527"/>
            <a:ext cx="974691" cy="177367"/>
          </a:xfrm>
          <a:prstGeom prst="rect">
            <a:avLst/>
          </a:prstGeom>
        </p:spPr>
      </p:pic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8E155A4A-A95C-C24F-AAC1-5B36BD8EF9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1" y="6356351"/>
            <a:ext cx="54874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1E16C47E-A5FB-1F49-92E1-A54CF023A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3405" y="6356351"/>
            <a:ext cx="52942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9260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Slid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1A23D05-C31E-F048-9438-D0078F2BDF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240ECF5-0A5E-3B4E-A626-8B98605B8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3" y="6347527"/>
            <a:ext cx="974691" cy="177367"/>
          </a:xfrm>
          <a:prstGeom prst="rect">
            <a:avLst/>
          </a:prstGeom>
          <a:noFill/>
        </p:spPr>
      </p:pic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630961F-C319-5846-94D7-208EDFD0F0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1713" y="1660196"/>
            <a:ext cx="8549921" cy="357886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lang="en-US" sz="8800" b="1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Hero call-put for important highlight tex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04D589B-07A4-164B-84EA-84CA7B25C685}"/>
              </a:ext>
            </a:extLst>
          </p:cNvPr>
          <p:cNvCxnSpPr>
            <a:cxnSpLocks/>
          </p:cNvCxnSpPr>
          <p:nvPr userDrawn="1"/>
        </p:nvCxnSpPr>
        <p:spPr>
          <a:xfrm>
            <a:off x="399207" y="1167308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3C49A222-48ED-C945-93DE-DBA716C351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1" y="6356351"/>
            <a:ext cx="5487404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7737E6CD-822C-324E-AE65-638BE3EEFD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3405" y="6356351"/>
            <a:ext cx="52942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6485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1A23D05-C31E-F048-9438-D0078F2BDF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DDC0199-D813-E44F-BAD0-5A3A1752B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5434" y="450441"/>
            <a:ext cx="1738167" cy="316299"/>
          </a:xfrm>
          <a:prstGeom prst="rect">
            <a:avLst/>
          </a:prstGeom>
          <a:noFill/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134B21B-D1D0-5C48-8831-95967478A8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0614" y="6235495"/>
            <a:ext cx="2338788" cy="13161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31A3BF9-936F-224F-B271-28EFA422B4F5}"/>
              </a:ext>
            </a:extLst>
          </p:cNvPr>
          <p:cNvSpPr txBox="1"/>
          <p:nvPr userDrawn="1"/>
        </p:nvSpPr>
        <p:spPr>
          <a:xfrm>
            <a:off x="391712" y="2402460"/>
            <a:ext cx="557634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0" lang="en-US" sz="6000" b="1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0789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362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1B50AA2-8C83-1947-ABD9-214CDFFA9B12}"/>
              </a:ext>
            </a:extLst>
          </p:cNvPr>
          <p:cNvSpPr/>
          <p:nvPr userDrawn="1"/>
        </p:nvSpPr>
        <p:spPr>
          <a:xfrm>
            <a:off x="0" y="1694330"/>
            <a:ext cx="12192000" cy="5163671"/>
          </a:xfrm>
          <a:prstGeom prst="rect">
            <a:avLst/>
          </a:prstGeom>
          <a:solidFill>
            <a:srgbClr val="EDC8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BA7FDE-F570-43F4-BEA0-9C39A2B0A9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059264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BA7FDE-F570-43F4-BEA0-9C39A2B0A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C7B8EE-F927-4BDD-B08C-3A65A4B923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842211" y="293382"/>
            <a:ext cx="10731723" cy="656991"/>
          </a:xfrm>
        </p:spPr>
        <p:txBody>
          <a:bodyPr vert="horz">
            <a:normAutofit/>
          </a:bodyPr>
          <a:lstStyle>
            <a:lvl1pPr>
              <a:defRPr sz="2800"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2" descr="Catalant Exclusive eBook">
            <a:extLst>
              <a:ext uri="{FF2B5EF4-FFF2-40B4-BE49-F238E27FC236}">
                <a16:creationId xmlns:a16="http://schemas.microsoft.com/office/drawing/2014/main" id="{54D5A1FB-F1BD-F84F-B739-53D15D7184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biLevel thresh="7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96" y="6402421"/>
            <a:ext cx="1216800" cy="282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87AA009-A8A0-3343-8468-1DC56AC4BE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2333" y="80653"/>
            <a:ext cx="7718425" cy="282336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EDC821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GB"/>
              <a:t>Heading 1</a:t>
            </a: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A6FB1D-B12D-8E4F-8A09-35B1F8904857}"/>
              </a:ext>
            </a:extLst>
          </p:cNvPr>
          <p:cNvCxnSpPr/>
          <p:nvPr userDrawn="1"/>
        </p:nvCxnSpPr>
        <p:spPr>
          <a:xfrm>
            <a:off x="609599" y="161158"/>
            <a:ext cx="0" cy="656991"/>
          </a:xfrm>
          <a:prstGeom prst="line">
            <a:avLst/>
          </a:prstGeom>
          <a:ln w="133350">
            <a:solidFill>
              <a:srgbClr val="EDC8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20263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63" userDrawn="1">
          <p15:clr>
            <a:srgbClr val="CCCCCC"/>
          </p15:clr>
        </p15:guide>
        <p15:guide id="2" pos="2531" userDrawn="1">
          <p15:clr>
            <a:srgbClr val="CCCCCC"/>
          </p15:clr>
        </p15:guide>
        <p15:guide id="3" pos="2829" userDrawn="1">
          <p15:clr>
            <a:srgbClr val="CCCCCC"/>
          </p15:clr>
        </p15:guide>
        <p15:guide id="4" pos="4849" userDrawn="1">
          <p15:clr>
            <a:srgbClr val="CCCCCC"/>
          </p15:clr>
        </p15:guide>
        <p15:guide id="5" pos="5148" userDrawn="1">
          <p15:clr>
            <a:srgbClr val="CCCCCC"/>
          </p15:clr>
        </p15:guide>
        <p15:guide id="6" pos="7167" userDrawn="1">
          <p15:clr>
            <a:srgbClr val="CCCCCC"/>
          </p15:clr>
        </p15:guide>
        <p15:guide id="7" orient="horz" pos="67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8546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6898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" userDrawn="1">
          <p15:clr>
            <a:srgbClr val="CCCCCC"/>
          </p15:clr>
        </p15:guide>
        <p15:guide id="2" pos="9963" userDrawn="1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719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9059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126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image" Target="../media/image14.emf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039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51" r:id="rId2"/>
    <p:sldLayoutId id="2147483752" r:id="rId3"/>
    <p:sldLayoutId id="2147483717" r:id="rId4"/>
    <p:sldLayoutId id="2147483718" r:id="rId5"/>
    <p:sldLayoutId id="2147483719" r:id="rId6"/>
    <p:sldLayoutId id="2147483720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22" r:id="rId13"/>
    <p:sldLayoutId id="2147483723" r:id="rId14"/>
    <p:sldLayoutId id="2147483753" r:id="rId15"/>
    <p:sldLayoutId id="2147483754" r:id="rId16"/>
    <p:sldLayoutId id="2147483755" r:id="rId17"/>
    <p:sldLayoutId id="2147483727" r:id="rId18"/>
    <p:sldLayoutId id="2147483730" r:id="rId19"/>
    <p:sldLayoutId id="2147483731" r:id="rId20"/>
    <p:sldLayoutId id="2147484560" r:id="rId21"/>
    <p:sldLayoutId id="2147484561" r:id="rId22"/>
    <p:sldLayoutId id="2147483737" r:id="rId23"/>
    <p:sldLayoutId id="2147484563" r:id="rId24"/>
    <p:sldLayoutId id="2147484564" r:id="rId25"/>
    <p:sldLayoutId id="2147484562" r:id="rId26"/>
    <p:sldLayoutId id="2147484565" r:id="rId27"/>
    <p:sldLayoutId id="2147483750" r:id="rId28"/>
    <p:sldLayoutId id="2147483738" r:id="rId29"/>
    <p:sldLayoutId id="2147483739" r:id="rId30"/>
    <p:sldLayoutId id="2147483740" r:id="rId31"/>
    <p:sldLayoutId id="2147484558" r:id="rId32"/>
    <p:sldLayoutId id="2147483742" r:id="rId33"/>
    <p:sldLayoutId id="2147483743" r:id="rId34"/>
    <p:sldLayoutId id="2147484559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480" userDrawn="1">
          <p15:clr>
            <a:srgbClr val="F26B43"/>
          </p15:clr>
        </p15:guide>
        <p15:guide id="4" orient="horz" pos="3816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7" pos="7296" userDrawn="1">
          <p15:clr>
            <a:srgbClr val="F26B43"/>
          </p15:clr>
        </p15:guide>
        <p15:guide id="8" pos="3120" userDrawn="1">
          <p15:clr>
            <a:srgbClr val="F26B43"/>
          </p15:clr>
        </p15:guide>
        <p15:guide id="9" pos="4560" userDrawn="1">
          <p15:clr>
            <a:srgbClr val="F26B43"/>
          </p15:clr>
        </p15:guide>
        <p15:guide id="10" orient="horz" pos="160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D46D082-FAD9-4305-82E5-8F0EAFDB4C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71580414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D46D082-FAD9-4305-82E5-8F0EAFDB4C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837" y="757536"/>
            <a:ext cx="11222355" cy="801443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837" y="2555824"/>
            <a:ext cx="11222355" cy="3502077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BD6A1-8BAB-B14D-88E2-C597CB825A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1" y="6356351"/>
            <a:ext cx="54874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6696A-2614-174D-B7E6-C777DDB95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3405" y="6356351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11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412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  <p:sldLayoutId id="2147483843" r:id="rId23"/>
    <p:sldLayoutId id="2147483844" r:id="rId24"/>
    <p:sldLayoutId id="2147483871" r:id="rId25"/>
    <p:sldLayoutId id="2147484236" r:id="rId26"/>
    <p:sldLayoutId id="2147484237" r:id="rId2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0" lang="en-US" sz="3000" b="0" i="0" u="none" strike="noStrike" kern="1200" cap="none" spc="0" normalizeH="0" baseline="0" dirty="0">
          <a:ln>
            <a:noFill/>
          </a:ln>
          <a:solidFill>
            <a:srgbClr val="000000"/>
          </a:solidFill>
          <a:effectLst/>
          <a:uLnTx/>
          <a:uFillTx/>
          <a:latin typeface="Arial" panose="020B0604020202020204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spcAft>
          <a:spcPts val="3600"/>
        </a:spcAft>
        <a:buFont typeface="Arial" panose="020B0604020202020204" pitchFamily="34" charset="0"/>
        <a:buNone/>
        <a:defRPr sz="25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-228594" algn="l" defTabSz="914377" rtl="0" eaLnBrk="1" latinLnBrk="0" hangingPunct="1">
        <a:lnSpc>
          <a:spcPct val="90000"/>
        </a:lnSpc>
        <a:spcBef>
          <a:spcPts val="500"/>
        </a:spcBef>
        <a:spcAft>
          <a:spcPts val="3400"/>
        </a:spcAft>
        <a:buClr>
          <a:schemeClr val="accent2"/>
        </a:buClr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indent="-228594" algn="l" defTabSz="914377" rtl="0" eaLnBrk="1" latinLnBrk="0" hangingPunct="1">
        <a:lnSpc>
          <a:spcPct val="90000"/>
        </a:lnSpc>
        <a:spcBef>
          <a:spcPts val="500"/>
        </a:spcBef>
        <a:spcAft>
          <a:spcPts val="2400"/>
        </a:spcAft>
        <a:buClr>
          <a:schemeClr val="accent2"/>
        </a:buClr>
        <a:buFont typeface="System Font Regular"/>
        <a:buChar char="⎻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5120" userDrawn="1">
          <p15:clr>
            <a:srgbClr val="F26B43"/>
          </p15:clr>
        </p15:guide>
        <p15:guide id="3" orient="horz" pos="640" userDrawn="1">
          <p15:clr>
            <a:srgbClr val="F26B43"/>
          </p15:clr>
        </p15:guide>
        <p15:guide id="4" orient="horz" pos="5088" userDrawn="1">
          <p15:clr>
            <a:srgbClr val="F26B43"/>
          </p15:clr>
        </p15:guide>
        <p15:guide id="5" pos="320" userDrawn="1">
          <p15:clr>
            <a:srgbClr val="F26B43"/>
          </p15:clr>
        </p15:guide>
        <p15:guide id="7" pos="9728" userDrawn="1">
          <p15:clr>
            <a:srgbClr val="F26B43"/>
          </p15:clr>
        </p15:guide>
        <p15:guide id="8" pos="4160" userDrawn="1">
          <p15:clr>
            <a:srgbClr val="F26B43"/>
          </p15:clr>
        </p15:guide>
        <p15:guide id="9" pos="6080" userDrawn="1">
          <p15:clr>
            <a:srgbClr val="F26B43"/>
          </p15:clr>
        </p15:guide>
        <p15:guide id="10" orient="horz" pos="21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48AEA-5083-458D-8A8E-89A5442AF7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A05E452D-2C67-4955-B822-FAEDCD5978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828" y="333489"/>
            <a:ext cx="8309775" cy="55399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Watch Tower Solution Building Lifecycle </a:t>
            </a:r>
            <a:endParaRPr lang="en-US" altLang="en-US" sz="2000" dirty="0">
              <a:solidFill>
                <a:srgbClr val="000000"/>
              </a:solidFill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Balancing Flexibility, Scalability, and Accuracy in </a:t>
            </a:r>
            <a:r>
              <a:rPr kumimoji="0" lang="en-US" altLang="en-US" sz="16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Innovative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Analytics Solution Methodology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endParaRPr kumimoji="0" lang="en-US" alt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11969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A5638C6-206D-7B92-8CFD-4533D91FD1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032" y="509649"/>
            <a:ext cx="11789936" cy="6085128"/>
          </a:xfrm>
          <a:prstGeom prst="rect">
            <a:avLst/>
          </a:prstGeom>
        </p:spPr>
      </p:pic>
      <p:sp>
        <p:nvSpPr>
          <p:cNvPr id="9" name="Rectangle: Top Corners Snipped 8">
            <a:extLst>
              <a:ext uri="{FF2B5EF4-FFF2-40B4-BE49-F238E27FC236}">
                <a16:creationId xmlns:a16="http://schemas.microsoft.com/office/drawing/2014/main" id="{83AD4597-F25B-6940-E903-09F6EDD06001}"/>
              </a:ext>
            </a:extLst>
          </p:cNvPr>
          <p:cNvSpPr/>
          <p:nvPr/>
        </p:nvSpPr>
        <p:spPr>
          <a:xfrm rot="16354213">
            <a:off x="4912152" y="3479273"/>
            <a:ext cx="1904215" cy="1469013"/>
          </a:xfrm>
          <a:prstGeom prst="snip2Same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Top Corners Snipped 9">
            <a:extLst>
              <a:ext uri="{FF2B5EF4-FFF2-40B4-BE49-F238E27FC236}">
                <a16:creationId xmlns:a16="http://schemas.microsoft.com/office/drawing/2014/main" id="{6048F945-D9E8-6334-010C-078CB5EF1FA7}"/>
              </a:ext>
            </a:extLst>
          </p:cNvPr>
          <p:cNvSpPr/>
          <p:nvPr/>
        </p:nvSpPr>
        <p:spPr>
          <a:xfrm rot="5555496">
            <a:off x="6924552" y="2473970"/>
            <a:ext cx="2855189" cy="2903456"/>
          </a:xfrm>
          <a:prstGeom prst="snip2Same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F0977E9-ECAC-49F3-7343-8652A133D7F3}"/>
              </a:ext>
            </a:extLst>
          </p:cNvPr>
          <p:cNvSpPr txBox="1"/>
          <p:nvPr/>
        </p:nvSpPr>
        <p:spPr>
          <a:xfrm>
            <a:off x="5218194" y="3429000"/>
            <a:ext cx="155292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tient ID: ABC  Model prediction: </a:t>
            </a:r>
            <a:r>
              <a:rPr lang="en-US" sz="1200" b="1" dirty="0">
                <a:solidFill>
                  <a:srgbClr val="FF000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lignant</a:t>
            </a:r>
            <a:r>
              <a:rPr lang="en-US" sz="1200" b="1" dirty="0">
                <a:solidFill>
                  <a:schemeClr val="bg1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(80%) </a:t>
            </a:r>
          </a:p>
          <a:p>
            <a:r>
              <a:rPr lang="en-US" sz="1200" dirty="0">
                <a:solidFill>
                  <a:schemeClr val="bg1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op 5 variables: [radius worst,  area worst, compactness se, concavity worst, concavity se]</a:t>
            </a:r>
            <a:endParaRPr lang="en-US" sz="12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555ACE7-1B1C-F6AD-BF3E-6EA428F574EA}"/>
              </a:ext>
            </a:extLst>
          </p:cNvPr>
          <p:cNvSpPr txBox="1"/>
          <p:nvPr/>
        </p:nvSpPr>
        <p:spPr>
          <a:xfrm>
            <a:off x="6900418" y="2679203"/>
            <a:ext cx="290345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tient ID: ABC  Model prediction: </a:t>
            </a:r>
            <a:r>
              <a:rPr lang="en-US" sz="1200" b="1" dirty="0">
                <a:solidFill>
                  <a:srgbClr val="FF000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lignant</a:t>
            </a:r>
            <a:r>
              <a:rPr lang="en-US" sz="1200" b="1" dirty="0">
                <a:solidFill>
                  <a:schemeClr val="bg1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(80%) </a:t>
            </a:r>
          </a:p>
          <a:p>
            <a:r>
              <a:rPr lang="en-US" sz="1200" dirty="0">
                <a:solidFill>
                  <a:schemeClr val="bg1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or Patient ABC, the higher chances(80%) of malignancy of cancer is primarily caused by factors such as </a:t>
            </a:r>
            <a:r>
              <a:rPr lang="en-US" sz="1200" b="1" dirty="0">
                <a:solidFill>
                  <a:schemeClr val="accent6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larger variations and complexities in the length and boundary of the tumor</a:t>
            </a:r>
            <a:r>
              <a:rPr lang="en-US" sz="1200" dirty="0">
                <a:solidFill>
                  <a:schemeClr val="bg1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, as well as more </a:t>
            </a:r>
            <a:r>
              <a:rPr lang="en-US" sz="1200" dirty="0">
                <a:solidFill>
                  <a:schemeClr val="accent6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vere concave portions and higher standard deviations of gray-scale values</a:t>
            </a:r>
            <a:r>
              <a:rPr lang="en-US" sz="1200" dirty="0">
                <a:solidFill>
                  <a:schemeClr val="bg1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 Additionally, </a:t>
            </a:r>
            <a:r>
              <a:rPr lang="en-US" sz="1200" dirty="0">
                <a:solidFill>
                  <a:schemeClr val="accent6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larger sizes and distances from the center to points on the perimeter of the tumor contribute to the malignancy</a:t>
            </a:r>
            <a:r>
              <a:rPr lang="en-US" sz="1200" dirty="0">
                <a:solidFill>
                  <a:schemeClr val="bg1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019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42"/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43"/>
  <p:tag name="THINKCELLSHAPEDONOTDELETE" val="tB3RJH83yToq1ZTmAZbQS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44"/>
</p:tagLst>
</file>

<file path=ppt/theme/theme1.xml><?xml version="1.0" encoding="utf-8"?>
<a:theme xmlns:a="http://schemas.openxmlformats.org/drawingml/2006/main" name="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BInBev Custom Template">
  <a:themeElements>
    <a:clrScheme name="ABInBev Custom Color Palette 1">
      <a:dk1>
        <a:srgbClr val="010101"/>
      </a:dk1>
      <a:lt1>
        <a:srgbClr val="FFFFFF"/>
      </a:lt1>
      <a:dk2>
        <a:srgbClr val="D1A33C"/>
      </a:dk2>
      <a:lt2>
        <a:srgbClr val="F2F2F2"/>
      </a:lt2>
      <a:accent1>
        <a:srgbClr val="F2D713"/>
      </a:accent1>
      <a:accent2>
        <a:srgbClr val="E2BC23"/>
      </a:accent2>
      <a:accent3>
        <a:srgbClr val="D1A33C"/>
      </a:accent3>
      <a:accent4>
        <a:srgbClr val="A87E2C"/>
      </a:accent4>
      <a:accent5>
        <a:srgbClr val="808080"/>
      </a:accent5>
      <a:accent6>
        <a:srgbClr val="424242"/>
      </a:accent6>
      <a:hlink>
        <a:srgbClr val="005392"/>
      </a:hlink>
      <a:folHlink>
        <a:srgbClr val="01010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99A3C3FE435D46BA175B1A1ACAD7D7" ma:contentTypeVersion="6" ma:contentTypeDescription="Create a new document." ma:contentTypeScope="" ma:versionID="f6071b8d1f4cff4c9ed9526e0b204034">
  <xsd:schema xmlns:xsd="http://www.w3.org/2001/XMLSchema" xmlns:xs="http://www.w3.org/2001/XMLSchema" xmlns:p="http://schemas.microsoft.com/office/2006/metadata/properties" xmlns:ns2="16899e29-5f9b-4e4a-815a-bb3d62f474c6" xmlns:ns3="223c3a84-6be9-47e2-b802-070850310ceb" targetNamespace="http://schemas.microsoft.com/office/2006/metadata/properties" ma:root="true" ma:fieldsID="6b342e4cfdfc126dc3ae76cfc9ac31cf" ns2:_="" ns3:_="">
    <xsd:import namespace="16899e29-5f9b-4e4a-815a-bb3d62f474c6"/>
    <xsd:import namespace="223c3a84-6be9-47e2-b802-070850310c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899e29-5f9b-4e4a-815a-bb3d62f474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3c3a84-6be9-47e2-b802-070850310ce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6CC880F-4820-4C2A-A9BD-2B0B14C7177E}">
  <ds:schemaRefs>
    <ds:schemaRef ds:uri="16899e29-5f9b-4e4a-815a-bb3d62f474c6"/>
    <ds:schemaRef ds:uri="223c3a84-6be9-47e2-b802-070850310c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E0DDCB9-CA82-4FA5-BDCA-D19AEB3FBB87}">
  <ds:schemaRefs>
    <ds:schemaRef ds:uri="d435262a-6827-4f46-b423-5b1051f236b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54A13EA-FFC4-4338-B9B9-BA319D5CAE8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35</TotalTime>
  <Words>131</Words>
  <Application>Microsoft Office PowerPoint</Application>
  <PresentationFormat>Widescreen</PresentationFormat>
  <Paragraphs>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Calibri</vt:lpstr>
      <vt:lpstr>Franklin Gothic Book</vt:lpstr>
      <vt:lpstr>Franklin Gothic Medium</vt:lpstr>
      <vt:lpstr>Roboto</vt:lpstr>
      <vt:lpstr>System Font Regular</vt:lpstr>
      <vt:lpstr>Wingdings</vt:lpstr>
      <vt:lpstr>Anheuser-Busch Custom Template</vt:lpstr>
      <vt:lpstr>ABInBev Custom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ca Jaffe</dc:creator>
  <cp:lastModifiedBy>Rai, Rajani</cp:lastModifiedBy>
  <cp:revision>108</cp:revision>
  <dcterms:created xsi:type="dcterms:W3CDTF">2021-11-19T21:57:43Z</dcterms:created>
  <dcterms:modified xsi:type="dcterms:W3CDTF">2023-10-04T12:1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99A3C3FE435D46BA175B1A1ACAD7D7</vt:lpwstr>
  </property>
  <property fmtid="{D5CDD505-2E9C-101B-9397-08002B2CF9AE}" pid="3" name="TitusGUID">
    <vt:lpwstr>8f2bd530-7fdc-445c-84d3-38c89bfc175d</vt:lpwstr>
  </property>
  <property fmtid="{D5CDD505-2E9C-101B-9397-08002B2CF9AE}" pid="4" name="ABClassification">
    <vt:lpwstr>InternalUseOnly</vt:lpwstr>
  </property>
</Properties>
</file>